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77" y="1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36641-D83F-4355-B1C4-0348990D7E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1DF3978-5D4C-463D-9E54-4E4B96CC8F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C793AC7-429A-4739-9EFE-BD12AA087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2F5FA15-4C94-4B37-ACC2-E5BC3894B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D93D14-3BAF-4F37-999A-D13CE74C0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3023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46ADCC-FBE2-40F8-992C-17EE780BA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D7A01B1-D67E-4640-8A05-8BE0004FCD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D2CF58-48E0-4969-A082-0FED5759F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E5A4C3-A239-4C71-AD87-C350C6F4E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6B6232-25F0-4A4B-BF55-0552AEAF7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7795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89F93E7-CBE1-491B-B41F-83738FDD0B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97BA81B-CFF9-4F05-8D9C-FE73D4FBCF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7B475F2-F00F-417A-966A-408FCCE9B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F117A7-FF12-4326-A056-3C06C42B86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AF0FF9-AE75-4110-A1B9-95EB536B8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778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99EC8B-BCED-4D03-A055-C39D7359A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1817869-41B9-4AC5-AE59-FDB526735D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066F7E-9B82-4531-9255-C633F366A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EFBF65-F0C2-4688-A202-B9E3C6F53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C4CDD9-E765-45A7-8FBA-7F36FEEAA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089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DC9371-368C-48DD-9AC6-3EDB2C60E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3A7C563-246F-4269-B36A-827C4639B7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5AFAAB-0629-4D3F-9963-F0F8EA5BD5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212AA4-DCF8-43E1-94DB-F14CEB95F4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C3A1A8-B94E-4210-B313-95D22AE85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718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D7FBE3-80A8-4A1F-A5EA-F9A7C03C6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8899335-7DA6-44A7-9570-6436FB8EA0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641492D-C012-42F5-BABC-9CE49C7F6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F2537D-BA23-4DDB-AF42-0AE7C8E62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2873250-C2C9-4822-85C9-D78EA818E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1910F1C-118F-4A4D-8646-38523BEF1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9927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C15DBE-D82B-4DC4-A626-8E59B4AB3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1329B1E-01E0-40AF-B936-C96EBE4A8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5442446-E888-46C3-8ED0-939CEF9AC2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3236DD8-C9C1-4721-8EBD-70506ACA3C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6811CE3-4EAC-45A2-8948-10F2B971BD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3F17534-7AC7-4EE1-B34A-8F0638780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F8A27EE-F758-4D90-A2DF-2259BD1C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6A5F80E-20A1-4694-BFD1-D4C5A825D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3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C75477-A353-4588-9816-95710EDFE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3C51A7-D7ED-42EE-96AB-6E8EAD584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66161D-2DE1-47F9-AD0C-4094AAABD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F850E0-514F-4149-9A8E-8483D466F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2500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E05FD2-F9B0-4220-BE40-C8A2215A2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61FE95-D99C-4F67-A347-08761289B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4C15ED-C4F0-4F53-B6AD-BB98C5C8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6623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2CDF27-6304-4D35-BF2C-49EC15058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8DAEE19-0BB6-4788-BF8D-BE7120931F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4F05EF1-9D04-4D5A-9A0B-AFEB4F6C42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8C3E493-D7CA-4C50-949A-0560AD2A5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B9670DC-3F2E-4D6A-BDC0-388F6E10D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BB41681-7BAA-4C89-A520-3F5FFADB4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085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117E06-0EB8-40B6-8398-59E751F32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E1EDC83-A883-46BB-A545-BBA2E26488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0562283-6EDF-43AF-95E7-B2CBDAE890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94EC894-806D-4ABD-8EE0-33E24323A1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5D636D0-EC3A-4A76-BBDC-1D77C2741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F11C1F-1B67-4124-AD2D-B46872DAC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052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A718DE5-BB5C-4D81-A704-A7602FC050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08199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305" imgH="305" progId="TCLayout.ActiveDocument.1">
                  <p:embed/>
                </p:oleObj>
              </mc:Choice>
              <mc:Fallback>
                <p:oleObj name="think-cell Folie" r:id="rId16" imgW="305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4F75F4E-AE9F-473B-9F38-E2B831E316A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13D02E5-311C-422A-B18D-5CF6C9440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BC2E39-73CE-4C08-ABB8-138920F9E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0E4E3C-3FE8-4F25-A1B2-0DAB0DC2CF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A5A2CD-D08F-402A-8C39-0DA780D58CF2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2FFD7A-8A7D-4BE0-932B-A75C04933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AA0341-6BC5-4642-92E1-5EE943CAE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1BA321-09B2-4AE3-9850-60A8EAF66D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964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0763C3A-C776-4988-A570-36D3597410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814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0CF5A797-1A8D-4FF3-A971-D81ACC570A3A}"/>
              </a:ext>
            </a:extLst>
          </p:cNvPr>
          <p:cNvSpPr/>
          <p:nvPr/>
        </p:nvSpPr>
        <p:spPr>
          <a:xfrm>
            <a:off x="0" y="665405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de-DE" sz="1000">
              <a:solidFill>
                <a:srgbClr val="000000"/>
              </a:solidFill>
            </a:endParaRPr>
          </a:p>
        </p:txBody>
      </p:sp>
      <p:sp>
        <p:nvSpPr>
          <p:cNvPr id="8" name="SAGD, Siemens, Modular, Puzzle, extension, part, teil, compliance, component, komponente, element, verbindung, connection">
            <a:extLst>
              <a:ext uri="{FF2B5EF4-FFF2-40B4-BE49-F238E27FC236}">
                <a16:creationId xmlns:a16="http://schemas.microsoft.com/office/drawing/2014/main" id="{6727DD72-9A9A-419F-ADFC-8C416CB3B07B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874776" y="1484440"/>
            <a:ext cx="3099185" cy="3078421"/>
          </a:xfrm>
          <a:custGeom>
            <a:avLst/>
            <a:gdLst>
              <a:gd name="T0" fmla="*/ 317 w 777"/>
              <a:gd name="T1" fmla="*/ 663 h 771"/>
              <a:gd name="T2" fmla="*/ 284 w 777"/>
              <a:gd name="T3" fmla="*/ 771 h 771"/>
              <a:gd name="T4" fmla="*/ 0 w 777"/>
              <a:gd name="T5" fmla="*/ 488 h 771"/>
              <a:gd name="T6" fmla="*/ 142 w 777"/>
              <a:gd name="T7" fmla="*/ 579 h 771"/>
              <a:gd name="T8" fmla="*/ 284 w 777"/>
              <a:gd name="T9" fmla="*/ 488 h 771"/>
              <a:gd name="T10" fmla="*/ 317 w 777"/>
              <a:gd name="T11" fmla="*/ 597 h 771"/>
              <a:gd name="T12" fmla="*/ 374 w 777"/>
              <a:gd name="T13" fmla="*/ 630 h 771"/>
              <a:gd name="T14" fmla="*/ 109 w 777"/>
              <a:gd name="T15" fmla="*/ 476 h 771"/>
              <a:gd name="T16" fmla="*/ 142 w 777"/>
              <a:gd name="T17" fmla="*/ 533 h 771"/>
              <a:gd name="T18" fmla="*/ 175 w 777"/>
              <a:gd name="T19" fmla="*/ 476 h 771"/>
              <a:gd name="T20" fmla="*/ 284 w 777"/>
              <a:gd name="T21" fmla="*/ 443 h 771"/>
              <a:gd name="T22" fmla="*/ 251 w 777"/>
              <a:gd name="T23" fmla="*/ 328 h 771"/>
              <a:gd name="T24" fmla="*/ 193 w 777"/>
              <a:gd name="T25" fmla="*/ 295 h 771"/>
              <a:gd name="T26" fmla="*/ 251 w 777"/>
              <a:gd name="T27" fmla="*/ 262 h 771"/>
              <a:gd name="T28" fmla="*/ 284 w 777"/>
              <a:gd name="T29" fmla="*/ 159 h 771"/>
              <a:gd name="T30" fmla="*/ 0 w 777"/>
              <a:gd name="T31" fmla="*/ 443 h 771"/>
              <a:gd name="T32" fmla="*/ 109 w 777"/>
              <a:gd name="T33" fmla="*/ 476 h 771"/>
              <a:gd name="T34" fmla="*/ 676 w 777"/>
              <a:gd name="T35" fmla="*/ 304 h 771"/>
              <a:gd name="T36" fmla="*/ 739 w 777"/>
              <a:gd name="T37" fmla="*/ 160 h 771"/>
              <a:gd name="T38" fmla="*/ 690 w 777"/>
              <a:gd name="T39" fmla="*/ 183 h 771"/>
              <a:gd name="T40" fmla="*/ 663 w 777"/>
              <a:gd name="T41" fmla="*/ 110 h 771"/>
              <a:gd name="T42" fmla="*/ 716 w 777"/>
              <a:gd name="T43" fmla="*/ 97 h 771"/>
              <a:gd name="T44" fmla="*/ 414 w 777"/>
              <a:gd name="T45" fmla="*/ 97 h 771"/>
              <a:gd name="T46" fmla="*/ 613 w 777"/>
              <a:gd name="T47" fmla="*/ 327 h 771"/>
              <a:gd name="T48" fmla="*/ 626 w 777"/>
              <a:gd name="T49" fmla="*/ 379 h 771"/>
              <a:gd name="T50" fmla="*/ 699 w 777"/>
              <a:gd name="T51" fmla="*/ 352 h 771"/>
              <a:gd name="T52" fmla="*/ 504 w 777"/>
              <a:gd name="T53" fmla="*/ 455 h 771"/>
              <a:gd name="T54" fmla="*/ 471 w 777"/>
              <a:gd name="T55" fmla="*/ 397 h 771"/>
              <a:gd name="T56" fmla="*/ 438 w 777"/>
              <a:gd name="T57" fmla="*/ 455 h 771"/>
              <a:gd name="T58" fmla="*/ 329 w 777"/>
              <a:gd name="T59" fmla="*/ 488 h 771"/>
              <a:gd name="T60" fmla="*/ 420 w 777"/>
              <a:gd name="T61" fmla="*/ 630 h 771"/>
              <a:gd name="T62" fmla="*/ 329 w 777"/>
              <a:gd name="T63" fmla="*/ 771 h 771"/>
              <a:gd name="T64" fmla="*/ 613 w 777"/>
              <a:gd name="T65" fmla="*/ 488 h 771"/>
              <a:gd name="T66" fmla="*/ 504 w 777"/>
              <a:gd name="T67" fmla="*/ 455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77" h="771">
                <a:moveTo>
                  <a:pt x="338" y="668"/>
                </a:moveTo>
                <a:cubicBezTo>
                  <a:pt x="330" y="668"/>
                  <a:pt x="323" y="665"/>
                  <a:pt x="317" y="663"/>
                </a:cubicBezTo>
                <a:cubicBezTo>
                  <a:pt x="303" y="657"/>
                  <a:pt x="287" y="646"/>
                  <a:pt x="284" y="663"/>
                </a:cubicBezTo>
                <a:cubicBezTo>
                  <a:pt x="284" y="771"/>
                  <a:pt x="284" y="771"/>
                  <a:pt x="284" y="771"/>
                </a:cubicBezTo>
                <a:cubicBezTo>
                  <a:pt x="0" y="771"/>
                  <a:pt x="0" y="771"/>
                  <a:pt x="0" y="771"/>
                </a:cubicBezTo>
                <a:cubicBezTo>
                  <a:pt x="0" y="488"/>
                  <a:pt x="0" y="488"/>
                  <a:pt x="0" y="488"/>
                </a:cubicBezTo>
                <a:cubicBezTo>
                  <a:pt x="51" y="488"/>
                  <a:pt x="51" y="488"/>
                  <a:pt x="51" y="488"/>
                </a:cubicBezTo>
                <a:cubicBezTo>
                  <a:pt x="51" y="538"/>
                  <a:pt x="92" y="579"/>
                  <a:pt x="142" y="579"/>
                </a:cubicBezTo>
                <a:cubicBezTo>
                  <a:pt x="192" y="579"/>
                  <a:pt x="233" y="538"/>
                  <a:pt x="233" y="488"/>
                </a:cubicBezTo>
                <a:cubicBezTo>
                  <a:pt x="284" y="488"/>
                  <a:pt x="284" y="488"/>
                  <a:pt x="284" y="488"/>
                </a:cubicBezTo>
                <a:cubicBezTo>
                  <a:pt x="284" y="596"/>
                  <a:pt x="284" y="596"/>
                  <a:pt x="284" y="596"/>
                </a:cubicBezTo>
                <a:cubicBezTo>
                  <a:pt x="287" y="613"/>
                  <a:pt x="303" y="602"/>
                  <a:pt x="317" y="597"/>
                </a:cubicBezTo>
                <a:cubicBezTo>
                  <a:pt x="323" y="594"/>
                  <a:pt x="330" y="591"/>
                  <a:pt x="338" y="591"/>
                </a:cubicBezTo>
                <a:cubicBezTo>
                  <a:pt x="358" y="591"/>
                  <a:pt x="374" y="608"/>
                  <a:pt x="374" y="630"/>
                </a:cubicBezTo>
                <a:cubicBezTo>
                  <a:pt x="374" y="651"/>
                  <a:pt x="358" y="668"/>
                  <a:pt x="338" y="668"/>
                </a:cubicBezTo>
                <a:close/>
                <a:moveTo>
                  <a:pt x="109" y="476"/>
                </a:moveTo>
                <a:cubicBezTo>
                  <a:pt x="106" y="482"/>
                  <a:pt x="103" y="489"/>
                  <a:pt x="103" y="496"/>
                </a:cubicBezTo>
                <a:cubicBezTo>
                  <a:pt x="103" y="517"/>
                  <a:pt x="120" y="533"/>
                  <a:pt x="142" y="533"/>
                </a:cubicBezTo>
                <a:cubicBezTo>
                  <a:pt x="164" y="533"/>
                  <a:pt x="181" y="517"/>
                  <a:pt x="181" y="496"/>
                </a:cubicBezTo>
                <a:cubicBezTo>
                  <a:pt x="181" y="489"/>
                  <a:pt x="178" y="482"/>
                  <a:pt x="175" y="476"/>
                </a:cubicBezTo>
                <a:cubicBezTo>
                  <a:pt x="169" y="462"/>
                  <a:pt x="158" y="446"/>
                  <a:pt x="175" y="443"/>
                </a:cubicBezTo>
                <a:cubicBezTo>
                  <a:pt x="284" y="443"/>
                  <a:pt x="284" y="443"/>
                  <a:pt x="284" y="443"/>
                </a:cubicBezTo>
                <a:cubicBezTo>
                  <a:pt x="284" y="329"/>
                  <a:pt x="284" y="329"/>
                  <a:pt x="284" y="329"/>
                </a:cubicBezTo>
                <a:cubicBezTo>
                  <a:pt x="280" y="312"/>
                  <a:pt x="264" y="322"/>
                  <a:pt x="251" y="328"/>
                </a:cubicBezTo>
                <a:cubicBezTo>
                  <a:pt x="244" y="331"/>
                  <a:pt x="237" y="334"/>
                  <a:pt x="230" y="334"/>
                </a:cubicBezTo>
                <a:cubicBezTo>
                  <a:pt x="209" y="334"/>
                  <a:pt x="193" y="317"/>
                  <a:pt x="193" y="295"/>
                </a:cubicBezTo>
                <a:cubicBezTo>
                  <a:pt x="193" y="274"/>
                  <a:pt x="209" y="256"/>
                  <a:pt x="230" y="256"/>
                </a:cubicBezTo>
                <a:cubicBezTo>
                  <a:pt x="237" y="256"/>
                  <a:pt x="244" y="259"/>
                  <a:pt x="251" y="262"/>
                </a:cubicBezTo>
                <a:cubicBezTo>
                  <a:pt x="264" y="268"/>
                  <a:pt x="280" y="279"/>
                  <a:pt x="284" y="262"/>
                </a:cubicBezTo>
                <a:cubicBezTo>
                  <a:pt x="284" y="159"/>
                  <a:pt x="284" y="159"/>
                  <a:pt x="284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443"/>
                  <a:pt x="0" y="443"/>
                  <a:pt x="0" y="443"/>
                </a:cubicBezTo>
                <a:cubicBezTo>
                  <a:pt x="108" y="443"/>
                  <a:pt x="108" y="443"/>
                  <a:pt x="108" y="443"/>
                </a:cubicBezTo>
                <a:cubicBezTo>
                  <a:pt x="126" y="446"/>
                  <a:pt x="115" y="462"/>
                  <a:pt x="109" y="476"/>
                </a:cubicBezTo>
                <a:close/>
                <a:moveTo>
                  <a:pt x="687" y="335"/>
                </a:moveTo>
                <a:cubicBezTo>
                  <a:pt x="676" y="324"/>
                  <a:pt x="661" y="313"/>
                  <a:pt x="676" y="304"/>
                </a:cubicBezTo>
                <a:cubicBezTo>
                  <a:pt x="777" y="267"/>
                  <a:pt x="777" y="267"/>
                  <a:pt x="777" y="267"/>
                </a:cubicBezTo>
                <a:cubicBezTo>
                  <a:pt x="739" y="160"/>
                  <a:pt x="739" y="160"/>
                  <a:pt x="739" y="160"/>
                </a:cubicBezTo>
                <a:cubicBezTo>
                  <a:pt x="729" y="145"/>
                  <a:pt x="718" y="160"/>
                  <a:pt x="707" y="171"/>
                </a:cubicBezTo>
                <a:cubicBezTo>
                  <a:pt x="702" y="175"/>
                  <a:pt x="697" y="181"/>
                  <a:pt x="690" y="183"/>
                </a:cubicBezTo>
                <a:cubicBezTo>
                  <a:pt x="671" y="190"/>
                  <a:pt x="649" y="179"/>
                  <a:pt x="642" y="159"/>
                </a:cubicBezTo>
                <a:cubicBezTo>
                  <a:pt x="635" y="139"/>
                  <a:pt x="644" y="117"/>
                  <a:pt x="663" y="110"/>
                </a:cubicBezTo>
                <a:cubicBezTo>
                  <a:pt x="670" y="108"/>
                  <a:pt x="678" y="108"/>
                  <a:pt x="685" y="109"/>
                </a:cubicBezTo>
                <a:cubicBezTo>
                  <a:pt x="700" y="109"/>
                  <a:pt x="718" y="114"/>
                  <a:pt x="716" y="97"/>
                </a:cubicBezTo>
                <a:cubicBezTo>
                  <a:pt x="681" y="0"/>
                  <a:pt x="681" y="0"/>
                  <a:pt x="681" y="0"/>
                </a:cubicBezTo>
                <a:cubicBezTo>
                  <a:pt x="414" y="97"/>
                  <a:pt x="414" y="97"/>
                  <a:pt x="414" y="97"/>
                </a:cubicBezTo>
                <a:cubicBezTo>
                  <a:pt x="511" y="364"/>
                  <a:pt x="511" y="364"/>
                  <a:pt x="511" y="364"/>
                </a:cubicBezTo>
                <a:cubicBezTo>
                  <a:pt x="613" y="327"/>
                  <a:pt x="613" y="327"/>
                  <a:pt x="613" y="327"/>
                </a:cubicBezTo>
                <a:cubicBezTo>
                  <a:pt x="630" y="324"/>
                  <a:pt x="625" y="343"/>
                  <a:pt x="625" y="358"/>
                </a:cubicBezTo>
                <a:cubicBezTo>
                  <a:pt x="624" y="365"/>
                  <a:pt x="624" y="372"/>
                  <a:pt x="626" y="379"/>
                </a:cubicBezTo>
                <a:cubicBezTo>
                  <a:pt x="633" y="398"/>
                  <a:pt x="655" y="408"/>
                  <a:pt x="675" y="400"/>
                </a:cubicBezTo>
                <a:cubicBezTo>
                  <a:pt x="696" y="393"/>
                  <a:pt x="706" y="372"/>
                  <a:pt x="699" y="352"/>
                </a:cubicBezTo>
                <a:cubicBezTo>
                  <a:pt x="697" y="346"/>
                  <a:pt x="691" y="340"/>
                  <a:pt x="687" y="335"/>
                </a:cubicBezTo>
                <a:close/>
                <a:moveTo>
                  <a:pt x="504" y="455"/>
                </a:moveTo>
                <a:cubicBezTo>
                  <a:pt x="507" y="448"/>
                  <a:pt x="510" y="441"/>
                  <a:pt x="510" y="434"/>
                </a:cubicBezTo>
                <a:cubicBezTo>
                  <a:pt x="510" y="414"/>
                  <a:pt x="492" y="397"/>
                  <a:pt x="471" y="397"/>
                </a:cubicBezTo>
                <a:cubicBezTo>
                  <a:pt x="449" y="397"/>
                  <a:pt x="432" y="414"/>
                  <a:pt x="432" y="434"/>
                </a:cubicBezTo>
                <a:cubicBezTo>
                  <a:pt x="432" y="441"/>
                  <a:pt x="435" y="448"/>
                  <a:pt x="438" y="455"/>
                </a:cubicBezTo>
                <a:cubicBezTo>
                  <a:pt x="444" y="468"/>
                  <a:pt x="454" y="484"/>
                  <a:pt x="437" y="488"/>
                </a:cubicBezTo>
                <a:cubicBezTo>
                  <a:pt x="329" y="488"/>
                  <a:pt x="329" y="488"/>
                  <a:pt x="329" y="488"/>
                </a:cubicBezTo>
                <a:cubicBezTo>
                  <a:pt x="329" y="539"/>
                  <a:pt x="329" y="539"/>
                  <a:pt x="329" y="539"/>
                </a:cubicBezTo>
                <a:cubicBezTo>
                  <a:pt x="379" y="539"/>
                  <a:pt x="420" y="580"/>
                  <a:pt x="420" y="630"/>
                </a:cubicBezTo>
                <a:cubicBezTo>
                  <a:pt x="420" y="680"/>
                  <a:pt x="379" y="720"/>
                  <a:pt x="329" y="720"/>
                </a:cubicBezTo>
                <a:cubicBezTo>
                  <a:pt x="329" y="771"/>
                  <a:pt x="329" y="771"/>
                  <a:pt x="329" y="771"/>
                </a:cubicBezTo>
                <a:cubicBezTo>
                  <a:pt x="613" y="771"/>
                  <a:pt x="613" y="771"/>
                  <a:pt x="613" y="771"/>
                </a:cubicBezTo>
                <a:cubicBezTo>
                  <a:pt x="613" y="488"/>
                  <a:pt x="613" y="488"/>
                  <a:pt x="613" y="488"/>
                </a:cubicBezTo>
                <a:cubicBezTo>
                  <a:pt x="504" y="488"/>
                  <a:pt x="504" y="488"/>
                  <a:pt x="504" y="488"/>
                </a:cubicBezTo>
                <a:cubicBezTo>
                  <a:pt x="487" y="484"/>
                  <a:pt x="498" y="468"/>
                  <a:pt x="504" y="4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AE3EF0-BB10-4F4C-BECA-304DCCEBC92A}"/>
              </a:ext>
            </a:extLst>
          </p:cNvPr>
          <p:cNvSpPr/>
          <p:nvPr/>
        </p:nvSpPr>
        <p:spPr>
          <a:xfrm>
            <a:off x="0" y="6654055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de-DE" sz="1000">
                <a:solidFill>
                  <a:srgbClr val="000000"/>
                </a:solidFill>
              </a:rPr>
              <a:t>Intern</a:t>
            </a:r>
          </a:p>
        </p:txBody>
      </p:sp>
    </p:spTree>
    <p:extLst>
      <p:ext uri="{BB962C8B-B14F-4D97-AF65-F5344CB8AC3E}">
        <p14:creationId xmlns:p14="http://schemas.microsoft.com/office/powerpoint/2010/main" val="3747532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9RTeTgqGfytWajbyni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</Words>
  <Application>Microsoft Office PowerPoint</Application>
  <PresentationFormat>Breitbild</PresentationFormat>
  <Paragraphs>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rzonka, Holger (RC-DE DI FA PMA)</dc:creator>
  <cp:keywords>C_Restricted</cp:keywords>
  <cp:lastModifiedBy>Grzonka, Holger (RC-DE DI FA PMA)</cp:lastModifiedBy>
  <cp:revision>1</cp:revision>
  <dcterms:created xsi:type="dcterms:W3CDTF">2020-05-07T12:13:46Z</dcterms:created>
  <dcterms:modified xsi:type="dcterms:W3CDTF">2020-05-07T12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Restricted</vt:lpwstr>
  </property>
  <property fmtid="{D5CDD505-2E9C-101B-9397-08002B2CF9AE}" pid="3" name="sodocoClasLang">
    <vt:lpwstr>Intern</vt:lpwstr>
  </property>
  <property fmtid="{D5CDD505-2E9C-101B-9397-08002B2CF9AE}" pid="4" name="sodocoClasLangId">
    <vt:i4>0</vt:i4>
  </property>
  <property fmtid="{D5CDD505-2E9C-101B-9397-08002B2CF9AE}" pid="5" name="sodocoClasId">
    <vt:i4>1</vt:i4>
  </property>
</Properties>
</file>